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152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«СОШ № 42 </a:t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99592" y="4869160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МБОУ «СОШ № 45 г. 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 l="29725" t="14434" r="15150" b="12067"/>
          <a:stretch>
            <a:fillRect/>
          </a:stretch>
        </p:blipFill>
        <p:spPr bwMode="auto">
          <a:xfrm>
            <a:off x="1691680" y="1700808"/>
            <a:ext cx="5904656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168296" y="1099765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16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https://mou45.ru/vospitanie/professionalnaya-orientatsiya-shkolnikov</a:t>
            </a:r>
            <a:r>
              <a:rPr lang="en-US" sz="1600" b="1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/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12409" t="9316" r="10730" b="5282"/>
          <a:stretch/>
        </p:blipFill>
        <p:spPr>
          <a:xfrm>
            <a:off x="690839" y="1553446"/>
            <a:ext cx="7723666" cy="482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3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4</TotalTime>
  <Words>341</Words>
  <Application>Microsoft Office PowerPoint</Application>
  <PresentationFormat>Экран (4:3)</PresentationFormat>
  <Paragraphs>10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Сторожук.И.В</cp:lastModifiedBy>
  <cp:revision>146</cp:revision>
  <cp:lastPrinted>2019-04-25T09:14:46Z</cp:lastPrinted>
  <dcterms:created xsi:type="dcterms:W3CDTF">2018-08-20T14:01:12Z</dcterms:created>
  <dcterms:modified xsi:type="dcterms:W3CDTF">2023-10-23T09:35:52Z</dcterms:modified>
</cp:coreProperties>
</file>